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90" r:id="rId1"/>
    <p:sldMasterId id="2147483900" r:id="rId2"/>
    <p:sldMasterId id="2147483905" r:id="rId3"/>
    <p:sldMasterId id="2147483916" r:id="rId4"/>
    <p:sldMasterId id="2147483928" r:id="rId5"/>
    <p:sldMasterId id="2147483938" r:id="rId6"/>
    <p:sldMasterId id="2147483948" r:id="rId7"/>
    <p:sldMasterId id="2147483959" r:id="rId8"/>
    <p:sldMasterId id="2147483970" r:id="rId9"/>
    <p:sldMasterId id="2147483991" r:id="rId10"/>
    <p:sldMasterId id="2147484001" r:id="rId11"/>
    <p:sldMasterId id="2147484009" r:id="rId12"/>
    <p:sldMasterId id="2147484021" r:id="rId13"/>
    <p:sldMasterId id="2147484034" r:id="rId14"/>
  </p:sldMasterIdLst>
  <p:notesMasterIdLst>
    <p:notesMasterId r:id="rId19"/>
  </p:notesMasterIdLst>
  <p:handoutMasterIdLst>
    <p:handoutMasterId r:id="rId20"/>
  </p:handoutMasterIdLst>
  <p:sldIdLst>
    <p:sldId id="618" r:id="rId15"/>
    <p:sldId id="616" r:id="rId16"/>
    <p:sldId id="617" r:id="rId17"/>
    <p:sldId id="620" r:id="rId18"/>
  </p:sldIdLst>
  <p:sldSz cx="9906000" cy="6858000" type="A4"/>
  <p:notesSz cx="6807200" cy="9939338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110" d="100"/>
          <a:sy n="110" d="100"/>
        </p:scale>
        <p:origin x="1248" y="114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4/11/2025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4/11/2025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0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5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ちば地域産業創出実証プロジェクト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9AEB614C-0928-6C33-8463-394E1AB279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sp>
        <p:nvSpPr>
          <p:cNvPr id="5" name="テキスト プレースホルダ 9">
            <a:extLst>
              <a:ext uri="{FF2B5EF4-FFF2-40B4-BE49-F238E27FC236}">
                <a16:creationId xmlns:a16="http://schemas.microsoft.com/office/drawing/2014/main" id="{D8A607E1-8C02-537A-8761-13A567180F35}"/>
              </a:ext>
            </a:extLst>
          </p:cNvPr>
          <p:cNvSpPr txBox="1">
            <a:spLocks/>
          </p:cNvSpPr>
          <p:nvPr/>
        </p:nvSpPr>
        <p:spPr bwMode="gray">
          <a:xfrm>
            <a:off x="4881143" y="6278882"/>
            <a:ext cx="3256383" cy="489296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en-US" altLang="ja-JP" sz="1800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※</a:t>
            </a:r>
            <a:r>
              <a:rPr lang="ja-JP" altLang="en-US" sz="1800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ページ番号を付すこと</a:t>
            </a:r>
            <a:endParaRPr lang="en-US" altLang="ja-JP" sz="1800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2723011C-7197-691A-644F-5761CDB45DF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D0CF160A-F6C0-7825-795C-B3EF00DEBC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84756C9E-A0D5-5486-7C97-2A15B5649BD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3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14</Words>
  <Application>Microsoft Office PowerPoint</Application>
  <PresentationFormat>A4 210 x 297 mm</PresentationFormat>
  <Paragraphs>17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5" baseType="lpstr">
      <vt:lpstr>BIZ UDゴシック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・目的について具体的にご記入ください。 （スライドが複数ある場合は、新しいスライドを適宜追加してください。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5-04-11T08:14:56Z</dcterms:created>
  <dcterms:modified xsi:type="dcterms:W3CDTF">2025-04-11T08:15:00Z</dcterms:modified>
</cp:coreProperties>
</file>